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0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1.xml" ContentType="application/vnd.openxmlformats-officedocument.presentationml.tags+xml"/>
  <Override PartName="/ppt/notesSlides/notesSlide11.xml" ContentType="application/vnd.openxmlformats-officedocument.presentationml.notesSlide+xml"/>
  <Override PartName="/ppt/tags/tag32.xml" ContentType="application/vnd.openxmlformats-officedocument.presentationml.tags+xml"/>
  <Override PartName="/ppt/notesSlides/notesSlide12.xml" ContentType="application/vnd.openxmlformats-officedocument.presentationml.notesSlide+xml"/>
  <Override PartName="/ppt/tags/tag33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27"/>
  </p:notesMasterIdLst>
  <p:handoutMasterIdLst>
    <p:handoutMasterId r:id="rId28"/>
  </p:handoutMasterIdLst>
  <p:sldIdLst>
    <p:sldId id="321" r:id="rId4"/>
    <p:sldId id="330" r:id="rId5"/>
    <p:sldId id="290" r:id="rId6"/>
    <p:sldId id="331" r:id="rId7"/>
    <p:sldId id="294" r:id="rId8"/>
    <p:sldId id="2145705951" r:id="rId9"/>
    <p:sldId id="2145705925" r:id="rId10"/>
    <p:sldId id="2145705952" r:id="rId11"/>
    <p:sldId id="2145705953" r:id="rId12"/>
    <p:sldId id="2145705954" r:id="rId13"/>
    <p:sldId id="2145705968" r:id="rId14"/>
    <p:sldId id="2145705955" r:id="rId15"/>
    <p:sldId id="2145705967" r:id="rId16"/>
    <p:sldId id="2145705956" r:id="rId17"/>
    <p:sldId id="2145705957" r:id="rId18"/>
    <p:sldId id="2145705958" r:id="rId19"/>
    <p:sldId id="2145705959" r:id="rId20"/>
    <p:sldId id="2145705960" r:id="rId21"/>
    <p:sldId id="2145705961" r:id="rId22"/>
    <p:sldId id="2145705962" r:id="rId23"/>
    <p:sldId id="2145705963" r:id="rId24"/>
    <p:sldId id="2145705964" r:id="rId25"/>
    <p:sldId id="2145705965" r:id="rId26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0"/>
            <p14:sldId id="290"/>
            <p14:sldId id="331"/>
            <p14:sldId id="294"/>
            <p14:sldId id="2145705951"/>
            <p14:sldId id="2145705925"/>
            <p14:sldId id="2145705952"/>
            <p14:sldId id="2145705953"/>
            <p14:sldId id="2145705954"/>
            <p14:sldId id="2145705968"/>
            <p14:sldId id="2145705955"/>
            <p14:sldId id="2145705967"/>
            <p14:sldId id="2145705956"/>
            <p14:sldId id="2145705957"/>
            <p14:sldId id="2145705958"/>
            <p14:sldId id="2145705959"/>
            <p14:sldId id="2145705960"/>
            <p14:sldId id="2145705961"/>
            <p14:sldId id="2145705962"/>
            <p14:sldId id="2145705963"/>
            <p14:sldId id="2145705964"/>
            <p14:sldId id="214570596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8E0FA"/>
    <a:srgbClr val="9A07CB"/>
    <a:srgbClr val="1DA8E7"/>
    <a:srgbClr val="F300D6"/>
    <a:srgbClr val="3366FF"/>
    <a:srgbClr val="CC071E"/>
    <a:srgbClr val="0CE6CF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0" autoAdjust="0"/>
    <p:restoredTop sz="81055" autoAdjust="0"/>
  </p:normalViewPr>
  <p:slideViewPr>
    <p:cSldViewPr snapToGrid="0" snapToObjects="1" showGuides="1">
      <p:cViewPr varScale="1">
        <p:scale>
          <a:sx n="57" d="100"/>
          <a:sy n="57" d="100"/>
        </p:scale>
        <p:origin x="1260" y="42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1" d="1"/>
        <a:sy n="1" d="1"/>
      </p:scale>
      <p:origin x="0" y="-108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5/08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5.08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vi-VN"/>
              <a:t>Học </a:t>
            </a:r>
            <a:r>
              <a:rPr lang="vi-VN" b="1"/>
              <a:t>Dapper &amp; Entity Framework</a:t>
            </a:r>
            <a:r>
              <a:rPr lang="vi-VN"/>
              <a:t> để thao tác với database.</a:t>
            </a:r>
          </a:p>
          <a:p>
            <a:r>
              <a:rPr lang="vi-VN"/>
              <a:t>Tìm hiểu </a:t>
            </a:r>
            <a:r>
              <a:rPr lang="vi-VN" b="1"/>
              <a:t>MVC architecture</a:t>
            </a:r>
            <a:r>
              <a:rPr lang="vi-VN"/>
              <a:t> giúp tổ chức ứng dụng rõ ràng hơn.</a:t>
            </a:r>
          </a:p>
          <a:p>
            <a:r>
              <a:rPr lang="vi-VN"/>
              <a:t>Nắm khái niệm </a:t>
            </a:r>
            <a:r>
              <a:rPr lang="vi-VN" b="1"/>
              <a:t>Slowly Changing Dimensions (SCD 1,2,3)</a:t>
            </a:r>
            <a:r>
              <a:rPr lang="vi-VN"/>
              <a:t> cho quản lý phiên bản dữ liệu.</a:t>
            </a:r>
          </a:p>
          <a:p>
            <a:r>
              <a:rPr lang="vi-VN"/>
              <a:t>Áp dụng </a:t>
            </a:r>
            <a:r>
              <a:rPr lang="vi-VN" b="1"/>
              <a:t>Clean Code principles</a:t>
            </a:r>
            <a:r>
              <a:rPr lang="vi-VN"/>
              <a:t>: SOLID, thiết kế class, HATEOAS → viết code dễ bảo trì, dễ mở rộng.</a:t>
            </a:r>
          </a:p>
          <a:p>
            <a:endParaRPr lang="en-US"/>
          </a:p>
          <a:p>
            <a:r>
              <a:rPr lang="vi-VN" b="1"/>
              <a:t>Slowly Changing Dimensions (SCD)</a:t>
            </a:r>
            <a:r>
              <a:rPr lang="vi-VN"/>
              <a:t> là cách quản lý và lưu trữ </a:t>
            </a:r>
            <a:r>
              <a:rPr lang="vi-VN" b="1"/>
              <a:t>dữ liệu thay đổi theo thời gian</a:t>
            </a:r>
            <a:r>
              <a:rPr lang="vi-VN"/>
              <a:t> trong </a:t>
            </a:r>
            <a:r>
              <a:rPr lang="vi-VN" b="1"/>
              <a:t>Data Warehouse</a:t>
            </a:r>
            <a:r>
              <a:rPr lang="vi-VN"/>
              <a:t> (kho dữ liệu). 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771115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5737C-17AB-E546-3D61-88159F4878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AEA9406-12EC-CE3E-8840-EA69911B32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897A2B-5488-4D1E-E07A-E483CDCF73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4229F1-4BD1-631C-55F9-659038A123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736848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9CD1E5-9C38-AF82-41AD-4B3CD8D055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5DBCFBD-0221-36C0-390D-662FCBD54F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B3E3768-78A2-4E34-10BA-D5683A83E2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062B83-59B2-2248-ABDA-16E2745436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110013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2BB637-9C69-E4BF-9D55-91DDD76E38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7400A54-662F-47A9-6649-F3B2EA5D553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32780C-A1B9-F54F-739E-1B1ECC081A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E5691-6245-08AF-1D2A-B3163DE0A0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342057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vi-VN"/>
              <a:t>Xin chào mọi người, hôm nay </a:t>
            </a:r>
            <a:r>
              <a:rPr lang="en-US"/>
              <a:t>em</a:t>
            </a:r>
            <a:r>
              <a:rPr lang="vi-VN"/>
              <a:t> sẽ chia sẻ về hành trình học tập và trải nghiệm cá nhân trong chương trình </a:t>
            </a:r>
            <a:r>
              <a:rPr lang="en-US"/>
              <a:t>YPP4 </a:t>
            </a:r>
          </a:p>
          <a:p>
            <a:r>
              <a:rPr lang="vi-VN"/>
              <a:t>Mục tiêu của buổi thuyết trình: </a:t>
            </a:r>
            <a:r>
              <a:rPr lang="en-US"/>
              <a:t>chia sẻ </a:t>
            </a:r>
            <a:r>
              <a:rPr lang="vi-VN"/>
              <a:t>những milestone quan trọng và những kỹ năng, kiến thức </a:t>
            </a:r>
            <a:r>
              <a:rPr lang="en-US"/>
              <a:t>em</a:t>
            </a:r>
            <a:r>
              <a:rPr lang="vi-VN"/>
              <a:t> đã tích lũy</a:t>
            </a:r>
            <a:r>
              <a:rPr lang="en-US"/>
              <a:t> từ đầu chương trình đến giờ</a:t>
            </a:r>
            <a:endParaRPr lang="vi-VN"/>
          </a:p>
          <a:p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370896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23483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vi-VN"/>
              <a:t>Được onboarding vào YPP4, làm quen team → giúp mình nhanh chóng hòa nhập.</a:t>
            </a:r>
          </a:p>
          <a:p>
            <a:r>
              <a:rPr lang="vi-VN"/>
              <a:t>Tìm hiểu </a:t>
            </a:r>
            <a:r>
              <a:rPr lang="vi-VN" b="1"/>
              <a:t>Software Development Quality Map</a:t>
            </a:r>
            <a:r>
              <a:rPr lang="vi-VN"/>
              <a:t> → hiểu rõ tiêu chí chất lượng phần mềm.</a:t>
            </a:r>
          </a:p>
          <a:p>
            <a:r>
              <a:rPr lang="vi-VN"/>
              <a:t>Nắm được </a:t>
            </a:r>
            <a:r>
              <a:rPr lang="vi-VN" b="1"/>
              <a:t>cấu trúc chương trình &amp; kỳ vọng</a:t>
            </a:r>
            <a:r>
              <a:rPr lang="vi-VN"/>
              <a:t> → có định hướng phát triển rõ ràng.</a:t>
            </a:r>
          </a:p>
          <a:p>
            <a:r>
              <a:rPr lang="vi-VN"/>
              <a:t>Thích nghi với môi trường làm việc chuyên nghiệp mới.</a:t>
            </a:r>
          </a:p>
          <a:p>
            <a:r>
              <a:rPr lang="vi-VN"/>
              <a:t>Lần đầu tiếp cận </a:t>
            </a:r>
            <a:r>
              <a:rPr lang="vi-VN" b="1"/>
              <a:t>Top-Down Approach, Scrum, BPMN, S.M.A.R.T questioning</a:t>
            </a:r>
            <a:r>
              <a:rPr lang="vi-VN"/>
              <a:t> → xây nền tảng kỹ năng quan trọng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591250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vi-VN"/>
              <a:t>Học </a:t>
            </a:r>
            <a:r>
              <a:rPr lang="vi-VN" b="1"/>
              <a:t>các nguyên tắc cơ bản về database design</a:t>
            </a:r>
            <a:r>
              <a:rPr lang="vi-VN"/>
              <a:t>.</a:t>
            </a:r>
          </a:p>
          <a:p>
            <a:r>
              <a:rPr lang="vi-VN"/>
              <a:t>Thực hành viết </a:t>
            </a:r>
            <a:r>
              <a:rPr lang="vi-VN" b="1"/>
              <a:t>SQL queries</a:t>
            </a:r>
            <a:r>
              <a:rPr lang="vi-VN"/>
              <a:t> để thao tác dữ liệu.</a:t>
            </a:r>
          </a:p>
          <a:p>
            <a:r>
              <a:rPr lang="vi-VN"/>
              <a:t>Xác định </a:t>
            </a:r>
            <a:r>
              <a:rPr lang="vi-VN" b="1"/>
              <a:t>entities quan trọng</a:t>
            </a:r>
            <a:r>
              <a:rPr lang="vi-VN"/>
              <a:t> trong database.</a:t>
            </a:r>
          </a:p>
          <a:p>
            <a:r>
              <a:rPr lang="vi-VN"/>
              <a:t>Làm quen với </a:t>
            </a:r>
            <a:r>
              <a:rPr lang="vi-VN" b="1"/>
              <a:t>UI analysis cơ bản</a:t>
            </a:r>
            <a:r>
              <a:rPr lang="vi-VN"/>
              <a:t> để hỗ trợ thiết kế.</a:t>
            </a:r>
          </a:p>
          <a:p>
            <a:r>
              <a:rPr lang="vi-VN"/>
              <a:t>Áp dụng kiến thức qua </a:t>
            </a:r>
            <a:r>
              <a:rPr lang="vi-VN" b="1"/>
              <a:t>bài tập nhỏ, thực hành đơn giản</a:t>
            </a:r>
            <a:r>
              <a:rPr lang="vi-VN"/>
              <a:t>.</a:t>
            </a:r>
          </a:p>
          <a:p>
            <a:r>
              <a:rPr lang="vi-VN"/>
              <a:t>Từ đó dần </a:t>
            </a:r>
            <a:r>
              <a:rPr lang="vi-VN" b="1"/>
              <a:t>tự tin hơn với các nền tảng kỹ thuật</a:t>
            </a:r>
            <a:r>
              <a:rPr lang="vi-VN"/>
              <a:t>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33455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7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6" Type="http://schemas.openxmlformats.org/officeDocument/2006/relationships/image" Target="../media/image1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Relationship Id="rId6" Type="http://schemas.openxmlformats.org/officeDocument/2006/relationships/image" Target="../media/image1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Relationship Id="rId6" Type="http://schemas.openxmlformats.org/officeDocument/2006/relationships/image" Target="../media/image1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1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6" Type="http://schemas.openxmlformats.org/officeDocument/2006/relationships/image" Target="../media/image1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6" Type="http://schemas.openxmlformats.org/officeDocument/2006/relationships/image" Target="../media/image17.jp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8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10F955-4D37-9428-B3E0-3B48912DD0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99" y="1666734"/>
            <a:ext cx="5118569" cy="1093751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/>
              <a:t>Basics of database design</a:t>
            </a:r>
          </a:p>
          <a:p>
            <a:pPr>
              <a:lnSpc>
                <a:spcPct val="150000"/>
              </a:lnSpc>
            </a:pPr>
            <a:r>
              <a:rPr lang="en-US"/>
              <a:t>Practicing SQL queries</a:t>
            </a:r>
          </a:p>
          <a:p>
            <a:pPr>
              <a:lnSpc>
                <a:spcPct val="150000"/>
              </a:lnSpc>
            </a:pPr>
            <a:r>
              <a:rPr lang="en-US"/>
              <a:t>Identifying necessary entities for the databas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7BD9B68-791B-53A9-FF2F-4FE8D8E79C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arning Journe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D17C64-E69B-B8BD-12C8-ABA7B3AC78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7725" y="3803405"/>
            <a:ext cx="5873138" cy="238948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77930B7-9D1B-1613-E1D3-0DF3A80F40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1137" y="3429000"/>
            <a:ext cx="5706714" cy="313829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B95CE77-E622-7133-838B-F48F303BB0E6}"/>
              </a:ext>
            </a:extLst>
          </p:cNvPr>
          <p:cNvSpPr txBox="1"/>
          <p:nvPr/>
        </p:nvSpPr>
        <p:spPr>
          <a:xfrm>
            <a:off x="6097725" y="1666734"/>
            <a:ext cx="6096000" cy="1287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/>
              <a:t>Learning basic UI analysis to support desig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/>
              <a:t>Applying knowledge to simple exercis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/>
              <a:t>Gaining confidence in technical fundamental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8971F7F-4F0D-B666-3350-68C357327605}"/>
              </a:ext>
            </a:extLst>
          </p:cNvPr>
          <p:cNvSpPr txBox="1"/>
          <p:nvPr/>
        </p:nvSpPr>
        <p:spPr>
          <a:xfrm>
            <a:off x="431999" y="1166923"/>
            <a:ext cx="60960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b="1"/>
              <a:t>Building Foundations</a:t>
            </a:r>
          </a:p>
        </p:txBody>
      </p:sp>
    </p:spTree>
    <p:extLst>
      <p:ext uri="{BB962C8B-B14F-4D97-AF65-F5344CB8AC3E}">
        <p14:creationId xmlns:p14="http://schemas.microsoft.com/office/powerpoint/2010/main" val="31108867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EB3EAFE-3DC4-CE1A-39ED-01FD610279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19508" y="1151755"/>
            <a:ext cx="4655367" cy="5054603"/>
          </a:xfrm>
          <a:prstGeom prst="rect">
            <a:avLst/>
          </a:prstGeom>
        </p:spPr>
      </p:pic>
      <p:sp>
        <p:nvSpPr>
          <p:cNvPr id="6" name="AutoShape 2">
            <a:extLst>
              <a:ext uri="{FF2B5EF4-FFF2-40B4-BE49-F238E27FC236}">
                <a16:creationId xmlns:a16="http://schemas.microsoft.com/office/drawing/2014/main" id="{C44D460E-FC4E-A090-394C-CBE2E7A84A9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B59D714-B451-D4DB-27E6-695EEA259B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999" y="1194267"/>
            <a:ext cx="5152696" cy="466477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797D051-78BB-2839-C4BF-E395F13C9301}"/>
              </a:ext>
            </a:extLst>
          </p:cNvPr>
          <p:cNvSpPr txBox="1"/>
          <p:nvPr/>
        </p:nvSpPr>
        <p:spPr>
          <a:xfrm>
            <a:off x="2093947" y="6072788"/>
            <a:ext cx="914400" cy="39939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b="1"/>
              <a:t>BEFORE</a:t>
            </a:r>
            <a:endParaRPr lang="en-US" b="1" dirty="0" err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032903A-AABB-8BB2-7C45-D439551631AB}"/>
              </a:ext>
            </a:extLst>
          </p:cNvPr>
          <p:cNvSpPr txBox="1"/>
          <p:nvPr/>
        </p:nvSpPr>
        <p:spPr>
          <a:xfrm>
            <a:off x="9151644" y="6057022"/>
            <a:ext cx="914400" cy="39939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b="1"/>
              <a:t>AFTER</a:t>
            </a:r>
            <a:endParaRPr lang="en-US" b="1" dirty="0" err="1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1D355ECE-3CF1-05C0-D769-6B4C5A14FE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86876"/>
            <a:ext cx="9720000" cy="1098000"/>
          </a:xfrm>
        </p:spPr>
        <p:txBody>
          <a:bodyPr/>
          <a:lstStyle/>
          <a:p>
            <a:r>
              <a:rPr lang="en-US"/>
              <a:t>Entity analysis exercises for the main functions of MS Lists</a:t>
            </a:r>
          </a:p>
        </p:txBody>
      </p:sp>
    </p:spTree>
    <p:extLst>
      <p:ext uri="{BB962C8B-B14F-4D97-AF65-F5344CB8AC3E}">
        <p14:creationId xmlns:p14="http://schemas.microsoft.com/office/powerpoint/2010/main" val="11160483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3DEE60-1045-7A6B-5C64-6EE5578E07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400" y="1781426"/>
            <a:ext cx="11329200" cy="1647574"/>
          </a:xfrm>
        </p:spPr>
        <p:txBody>
          <a:bodyPr/>
          <a:lstStyle/>
          <a:p>
            <a:r>
              <a:rPr lang="en-US"/>
              <a:t>Learned Dapper &amp; Entity Framework (EF) for database interaction</a:t>
            </a:r>
          </a:p>
          <a:p>
            <a:r>
              <a:rPr lang="en-US"/>
              <a:t>Explored MVC architecture to structure applications</a:t>
            </a:r>
          </a:p>
          <a:p>
            <a:r>
              <a:rPr lang="en-US"/>
              <a:t>Studied Slowly Changing Dimensions (SCD 1, 2, 3) for data versioning</a:t>
            </a:r>
          </a:p>
          <a:p>
            <a:r>
              <a:rPr lang="en-US"/>
              <a:t>Applied Clean Code principles: SOLID principles, class design, HATEOA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CC457DC-6568-FCC9-5787-1BFF8B7778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arning Journey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C8974EA-611E-1404-4A81-91F8D1CC6D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8041" y="3645709"/>
            <a:ext cx="6506483" cy="2905530"/>
          </a:xfrm>
          <a:prstGeom prst="rect">
            <a:avLst/>
          </a:prstGeom>
        </p:spPr>
      </p:pic>
      <p:sp>
        <p:nvSpPr>
          <p:cNvPr id="11" name="AutoShape 3" descr="Understanding SOLID Principles in C# - DEV Community">
            <a:extLst>
              <a:ext uri="{FF2B5EF4-FFF2-40B4-BE49-F238E27FC236}">
                <a16:creationId xmlns:a16="http://schemas.microsoft.com/office/drawing/2014/main" id="{7893BBB1-F9E4-2A64-E86E-E4DA063E2C7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013ADF4-0760-78A3-B37D-673BE9319C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80420" y="3429000"/>
            <a:ext cx="3664890" cy="3664890"/>
          </a:xfrm>
          <a:prstGeom prst="rect">
            <a:avLst/>
          </a:prstGeom>
        </p:spPr>
      </p:pic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906F832-A214-75D2-99AD-FAB6F1F80F6F}"/>
              </a:ext>
            </a:extLst>
          </p:cNvPr>
          <p:cNvSpPr txBox="1">
            <a:spLocks/>
          </p:cNvSpPr>
          <p:nvPr/>
        </p:nvSpPr>
        <p:spPr>
          <a:xfrm>
            <a:off x="448041" y="1226163"/>
            <a:ext cx="5232200" cy="338554"/>
          </a:xfrm>
          <a:prstGeom prst="rect">
            <a:avLst/>
          </a:prstGeom>
        </p:spPr>
        <p:txBody>
          <a:bodyPr/>
          <a:lstStyle>
            <a:lvl1pPr marL="27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200" b="1"/>
              <a:t>Expanding Skills</a:t>
            </a:r>
          </a:p>
        </p:txBody>
      </p:sp>
    </p:spTree>
    <p:extLst>
      <p:ext uri="{BB962C8B-B14F-4D97-AF65-F5344CB8AC3E}">
        <p14:creationId xmlns:p14="http://schemas.microsoft.com/office/powerpoint/2010/main" val="16141737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341F4E-7AB6-7037-6D74-C83A1BD16F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70360BF-E126-536B-5FF3-B5E31F92D4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arning Journey</a:t>
            </a:r>
          </a:p>
        </p:txBody>
      </p:sp>
      <p:sp>
        <p:nvSpPr>
          <p:cNvPr id="11" name="AutoShape 3" descr="Understanding SOLID Principles in C# - DEV Community">
            <a:extLst>
              <a:ext uri="{FF2B5EF4-FFF2-40B4-BE49-F238E27FC236}">
                <a16:creationId xmlns:a16="http://schemas.microsoft.com/office/drawing/2014/main" id="{C51877B7-526A-E24B-6DA0-6FF1B3046C7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CD62D75-EA8D-2522-5F98-56DB1EF31DE7}"/>
              </a:ext>
            </a:extLst>
          </p:cNvPr>
          <p:cNvSpPr txBox="1">
            <a:spLocks/>
          </p:cNvSpPr>
          <p:nvPr/>
        </p:nvSpPr>
        <p:spPr>
          <a:xfrm>
            <a:off x="448041" y="1098000"/>
            <a:ext cx="5232200" cy="338554"/>
          </a:xfrm>
          <a:prstGeom prst="rect">
            <a:avLst/>
          </a:prstGeom>
        </p:spPr>
        <p:txBody>
          <a:bodyPr/>
          <a:lstStyle>
            <a:lvl1pPr marL="27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200" b="1"/>
              <a:t>Expanding Skills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85C67774-EB53-0D40-9265-610AEFFB4A72}"/>
              </a:ext>
            </a:extLst>
          </p:cNvPr>
          <p:cNvSpPr>
            <a:spLocks noGrp="1" noChangeArrowheads="1"/>
          </p:cNvSpPr>
          <p:nvPr>
            <p:ph type="body" sz="quarter" idx="13"/>
          </p:nvPr>
        </p:nvSpPr>
        <p:spPr bwMode="auto">
          <a:xfrm>
            <a:off x="431800" y="1634797"/>
            <a:ext cx="11013510" cy="1287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English Club</a:t>
            </a:r>
            <a:r>
              <a:rPr lang="en-US" altLang="en-US">
                <a:latin typeface="Arial" panose="020B0604020202020204" pitchFamily="34" charset="0"/>
              </a:rPr>
              <a:t>:</a:t>
            </a: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improved communication &amp; presentation skills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Workshops Attended: </a:t>
            </a:r>
            <a:r>
              <a:rPr kumimoji="0" lang="en-US" altLang="en-US" sz="18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itical Thinking, S.M.A.R.T Questions</a:t>
            </a:r>
            <a:r>
              <a:rPr lang="en-US" altLang="en-US">
                <a:latin typeface="Arial" panose="020B0604020202020204" pitchFamily="34" charset="0"/>
              </a:rPr>
              <a:t>, </a:t>
            </a:r>
            <a:r>
              <a:rPr kumimoji="0" lang="en-US" altLang="en-US" sz="18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oblem Solving,…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eamwork &amp; Collaboration</a:t>
            </a:r>
            <a:r>
              <a:rPr lang="en-US" altLang="en-US">
                <a:latin typeface="Arial" panose="020B0604020202020204" pitchFamily="34" charset="0"/>
              </a:rPr>
              <a:t>:</a:t>
            </a: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learned to share ideas, give and receive feedback</a:t>
            </a:r>
          </a:p>
        </p:txBody>
      </p:sp>
      <p:pic>
        <p:nvPicPr>
          <p:cNvPr id="14340" name="Picture 4">
            <a:extLst>
              <a:ext uri="{FF2B5EF4-FFF2-40B4-BE49-F238E27FC236}">
                <a16:creationId xmlns:a16="http://schemas.microsoft.com/office/drawing/2014/main" id="{1A81FEF2-697B-048D-F155-682E7B83A7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041" y="3123944"/>
            <a:ext cx="3664890" cy="3664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2" name="Picture 6">
            <a:extLst>
              <a:ext uri="{FF2B5EF4-FFF2-40B4-BE49-F238E27FC236}">
                <a16:creationId xmlns:a16="http://schemas.microsoft.com/office/drawing/2014/main" id="{05BBBD61-1EE1-E9BB-71BB-A5B809D167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4046" y="3193110"/>
            <a:ext cx="3664890" cy="3664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4" name="Picture 8">
            <a:extLst>
              <a:ext uri="{FF2B5EF4-FFF2-40B4-BE49-F238E27FC236}">
                <a16:creationId xmlns:a16="http://schemas.microsoft.com/office/drawing/2014/main" id="{D893BDC0-6AAE-C523-A0DF-8E792385F3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4959" y="3123944"/>
            <a:ext cx="3429000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74363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993D48-193B-4BB7-0B97-8ECB81FB38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86D7CB2-4197-1B66-E7A6-6FC220D8BC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99" y="1920047"/>
            <a:ext cx="6235501" cy="2326849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/>
              <a:t>Gained confidence in writing structured, maintainable code</a:t>
            </a:r>
          </a:p>
          <a:p>
            <a:pPr algn="just">
              <a:lnSpc>
                <a:spcPct val="150000"/>
              </a:lnSpc>
            </a:pPr>
            <a:r>
              <a:rPr lang="en-US"/>
              <a:t>Better understanding of software design and architecture</a:t>
            </a:r>
          </a:p>
          <a:p>
            <a:pPr algn="just">
              <a:lnSpc>
                <a:spcPct val="150000"/>
              </a:lnSpc>
            </a:pPr>
            <a:r>
              <a:rPr lang="en-US"/>
              <a:t>Learned to manage evolving data and apply theory in practice</a:t>
            </a:r>
          </a:p>
          <a:p>
            <a:pPr algn="just">
              <a:lnSpc>
                <a:spcPct val="150000"/>
              </a:lnSpc>
            </a:pPr>
            <a:r>
              <a:rPr lang="en-US"/>
              <a:t>Improved problem-solving and design skill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8684FEA-615E-CBC6-7174-E64C8FA5E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arning Journey</a:t>
            </a:r>
          </a:p>
        </p:txBody>
      </p:sp>
      <p:sp>
        <p:nvSpPr>
          <p:cNvPr id="11" name="AutoShape 3" descr="Understanding SOLID Principles in C# - DEV Community">
            <a:extLst>
              <a:ext uri="{FF2B5EF4-FFF2-40B4-BE49-F238E27FC236}">
                <a16:creationId xmlns:a16="http://schemas.microsoft.com/office/drawing/2014/main" id="{FC904CD5-4EF1-27BB-9C84-39FB35D9BD6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148" name="Picture 4" descr="Hình ảnh Ghim câu chuyện">
            <a:extLst>
              <a:ext uri="{FF2B5EF4-FFF2-40B4-BE49-F238E27FC236}">
                <a16:creationId xmlns:a16="http://schemas.microsoft.com/office/drawing/2014/main" id="{AF6811E6-98AC-B958-F1C5-446E89CA09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0684" y="1311442"/>
            <a:ext cx="4539916" cy="45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1FE841AD-16C6-522B-5EB0-F244E11B9EAB}"/>
              </a:ext>
            </a:extLst>
          </p:cNvPr>
          <p:cNvSpPr txBox="1">
            <a:spLocks/>
          </p:cNvSpPr>
          <p:nvPr/>
        </p:nvSpPr>
        <p:spPr>
          <a:xfrm>
            <a:off x="432000" y="1312045"/>
            <a:ext cx="5232200" cy="338554"/>
          </a:xfrm>
          <a:prstGeom prst="rect">
            <a:avLst/>
          </a:prstGeom>
        </p:spPr>
        <p:txBody>
          <a:bodyPr/>
          <a:lstStyle>
            <a:lvl1pPr marL="27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27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200" b="1"/>
              <a:t>Personal Gains</a:t>
            </a:r>
          </a:p>
        </p:txBody>
      </p:sp>
    </p:spTree>
    <p:extLst>
      <p:ext uri="{BB962C8B-B14F-4D97-AF65-F5344CB8AC3E}">
        <p14:creationId xmlns:p14="http://schemas.microsoft.com/office/powerpoint/2010/main" val="4059561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3" name="Picture 5">
            <a:extLst>
              <a:ext uri="{FF2B5EF4-FFF2-40B4-BE49-F238E27FC236}">
                <a16:creationId xmlns:a16="http://schemas.microsoft.com/office/drawing/2014/main" id="{206A8AED-167E-5973-7FB1-753A5E527E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9846" y="1746488"/>
            <a:ext cx="5661133" cy="3771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FB5BFE3-31AD-C53B-BEAA-E02DEA8B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000" y="1312045"/>
            <a:ext cx="5232200" cy="338554"/>
          </a:xfrm>
        </p:spPr>
        <p:txBody>
          <a:bodyPr/>
          <a:lstStyle/>
          <a:p>
            <a:r>
              <a:rPr lang="en-US"/>
              <a:t>Connecting &amp; Growing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445F2EB-FD0D-E7D2-9BCF-A972E75304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arning Journey</a:t>
            </a: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F6B409F8-F1CB-522D-0731-41DF798DAAF7}"/>
              </a:ext>
            </a:extLst>
          </p:cNvPr>
          <p:cNvSpPr>
            <a:spLocks noGrp="1" noChangeArrowheads="1"/>
          </p:cNvSpPr>
          <p:nvPr>
            <p:ph type="body" sz="quarter" idx="13"/>
          </p:nvPr>
        </p:nvSpPr>
        <p:spPr bwMode="auto">
          <a:xfrm>
            <a:off x="431998" y="1746488"/>
            <a:ext cx="5661133" cy="3365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18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articipated in sharing sessions with peers &amp; mentors</a:t>
            </a:r>
          </a:p>
          <a:p>
            <a:pPr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18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Joined team-building and outdoor activities</a:t>
            </a:r>
          </a:p>
          <a:p>
            <a:pPr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18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pplied knowledge to real-life exercises</a:t>
            </a:r>
          </a:p>
          <a:p>
            <a:pPr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18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Learned to collaborate and communicate effectively</a:t>
            </a:r>
          </a:p>
          <a:p>
            <a:pPr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18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Started mentoring and supporting newer participants</a:t>
            </a:r>
          </a:p>
        </p:txBody>
      </p:sp>
    </p:spTree>
    <p:extLst>
      <p:ext uri="{BB962C8B-B14F-4D97-AF65-F5344CB8AC3E}">
        <p14:creationId xmlns:p14="http://schemas.microsoft.com/office/powerpoint/2010/main" val="16480686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50BE0D-DAA4-9B1E-5235-9F25963815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B6A9A3-BC93-7574-29F7-0D37F84001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DF791B-BB13-C06C-354B-8C9BF971CCA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0616653-BA96-7A2D-F8D3-425FD23D529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Challenges Faced</a:t>
            </a:r>
          </a:p>
        </p:txBody>
      </p:sp>
    </p:spTree>
    <p:extLst>
      <p:ext uri="{BB962C8B-B14F-4D97-AF65-F5344CB8AC3E}">
        <p14:creationId xmlns:p14="http://schemas.microsoft.com/office/powerpoint/2010/main" val="24339556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70C318-1D5D-1DB4-6937-C4CA61BE82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998" y="1530000"/>
            <a:ext cx="7406102" cy="338554"/>
          </a:xfrm>
        </p:spPr>
        <p:txBody>
          <a:bodyPr/>
          <a:lstStyle/>
          <a:p>
            <a:r>
              <a:rPr lang="en-US"/>
              <a:t>1. Code &amp; Implementa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107F134-E156-86EB-9083-0627F23007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7" y="4549833"/>
            <a:ext cx="5664003" cy="427037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/>
              <a:t>Needed multiple revisions to improve quality</a:t>
            </a:r>
          </a:p>
          <a:p>
            <a:pPr>
              <a:lnSpc>
                <a:spcPct val="150000"/>
              </a:lnSpc>
            </a:pPr>
            <a:r>
              <a:rPr lang="en-US"/>
              <a:t>Balancing learning speed with doing things right</a:t>
            </a:r>
          </a:p>
          <a:p>
            <a:pPr>
              <a:lnSpc>
                <a:spcPct val="150000"/>
              </a:lnSpc>
            </a:pPr>
            <a:r>
              <a:rPr lang="en-US"/>
              <a:t>Managing multiple new topics at onc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0544372-A6F0-2FBD-3FF8-7E516B3AB1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1997" y="3922420"/>
            <a:ext cx="7399645" cy="338554"/>
          </a:xfrm>
        </p:spPr>
        <p:txBody>
          <a:bodyPr/>
          <a:lstStyle/>
          <a:p>
            <a:r>
              <a:rPr lang="en-US"/>
              <a:t>2. Learning &amp; Proces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0F05770-34D2-AC37-D1D5-76032870D7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hallenges Faced</a:t>
            </a:r>
          </a:p>
        </p:txBody>
      </p:sp>
      <p:sp>
        <p:nvSpPr>
          <p:cNvPr id="12" name="Rectangle 2">
            <a:extLst>
              <a:ext uri="{FF2B5EF4-FFF2-40B4-BE49-F238E27FC236}">
                <a16:creationId xmlns:a16="http://schemas.microsoft.com/office/drawing/2014/main" id="{53EA1C3C-F86F-562F-6AB3-12D43AC393F7}"/>
              </a:ext>
            </a:extLst>
          </p:cNvPr>
          <p:cNvSpPr>
            <a:spLocks noGrp="1" noChangeArrowheads="1"/>
          </p:cNvSpPr>
          <p:nvPr>
            <p:ph type="body" sz="quarter" idx="13"/>
          </p:nvPr>
        </p:nvSpPr>
        <p:spPr bwMode="auto">
          <a:xfrm>
            <a:off x="431997" y="2157413"/>
            <a:ext cx="7399647" cy="1287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de not always clean or well-structured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Some solutions didn’t fully meet requirements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pplying new concepts often led to mistakes</a:t>
            </a:r>
          </a:p>
        </p:txBody>
      </p:sp>
      <p:pic>
        <p:nvPicPr>
          <p:cNvPr id="9222" name="Picture 6">
            <a:extLst>
              <a:ext uri="{FF2B5EF4-FFF2-40B4-BE49-F238E27FC236}">
                <a16:creationId xmlns:a16="http://schemas.microsoft.com/office/drawing/2014/main" id="{E8403D8E-04FA-62F8-CADB-951EB5E91E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1602" y="1528767"/>
            <a:ext cx="4718400" cy="471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3144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65B9AB-EA52-85C4-BBDF-6A09445F73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E981F0B-D6E5-673F-8CAF-AE17035CB3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B6A9A3-BC93-7574-29F7-0D37F8400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7F7416E4-701D-EB13-21FC-D39B20F0EDC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F4FFFD2-F650-CAF1-5337-EA2BE44E10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Lessons Learned</a:t>
            </a:r>
          </a:p>
        </p:txBody>
      </p:sp>
    </p:spTree>
    <p:extLst>
      <p:ext uri="{BB962C8B-B14F-4D97-AF65-F5344CB8AC3E}">
        <p14:creationId xmlns:p14="http://schemas.microsoft.com/office/powerpoint/2010/main" val="39636130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3" name="Picture 3" descr="Hình ảnh Ghim câu chuyện">
            <a:extLst>
              <a:ext uri="{FF2B5EF4-FFF2-40B4-BE49-F238E27FC236}">
                <a16:creationId xmlns:a16="http://schemas.microsoft.com/office/drawing/2014/main" id="{1CD92FE6-CE26-0034-0A86-2AC9DA2D9E8C}"/>
              </a:ext>
            </a:extLst>
          </p:cNvPr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68" b="18468"/>
          <a:stretch/>
        </p:blipFill>
        <p:spPr bwMode="auto">
          <a:xfrm>
            <a:off x="6096000" y="1098313"/>
            <a:ext cx="6096000" cy="5759374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B80ABA01-9A7D-9731-42BF-793A73E41A51}"/>
              </a:ext>
            </a:extLst>
          </p:cNvPr>
          <p:cNvSpPr>
            <a:spLocks noGrp="1" noChangeArrowheads="1"/>
          </p:cNvSpPr>
          <p:nvPr>
            <p:ph type="body" sz="quarter" idx="13"/>
          </p:nvPr>
        </p:nvSpPr>
        <p:spPr bwMode="auto">
          <a:xfrm>
            <a:off x="432000" y="2160001"/>
            <a:ext cx="5232200" cy="4267788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eaLnBrk="0" fontAlgn="base" hangingPunct="0">
              <a:spcBef>
                <a:spcPct val="0"/>
              </a:spcBef>
              <a:buClrTx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Improved </a:t>
            </a:r>
            <a:r>
              <a:rPr kumimoji="0" lang="en-US" altLang="en-US" b="1" i="0" u="none" strike="noStrike" cap="none" normalizeH="0" baseline="0">
                <a:ln>
                  <a:noFill/>
                </a:ln>
                <a:effectLst/>
              </a:rPr>
              <a:t>analytical skills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: learned to break down complex problems</a:t>
            </a:r>
          </a:p>
          <a:p>
            <a:pPr eaLnBrk="0" fontAlgn="base" hangingPunct="0">
              <a:spcBef>
                <a:spcPct val="0"/>
              </a:spcBef>
              <a:buClrTx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Enhanced </a:t>
            </a:r>
            <a:r>
              <a:rPr kumimoji="0" lang="en-US" altLang="en-US" b="1" i="0" u="none" strike="noStrike" cap="none" normalizeH="0" baseline="0">
                <a:ln>
                  <a:noFill/>
                </a:ln>
                <a:effectLst/>
              </a:rPr>
              <a:t>problem-solving ability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: apply logical thinking to design solutions</a:t>
            </a:r>
          </a:p>
          <a:p>
            <a:pPr eaLnBrk="0" fontAlgn="base" hangingPunct="0">
              <a:spcBef>
                <a:spcPct val="0"/>
              </a:spcBef>
              <a:buClrTx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Developed </a:t>
            </a:r>
            <a:r>
              <a:rPr kumimoji="0" lang="en-US" altLang="en-US" b="1" i="0" u="none" strike="noStrike" cap="none" normalizeH="0" baseline="0">
                <a:ln>
                  <a:noFill/>
                </a:ln>
                <a:effectLst/>
              </a:rPr>
              <a:t>coding practices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: write cleaner, structured, maintainable code (MVC, SQL, unit testing)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E044016-C144-13CA-F466-708775C802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000" y="1530000"/>
            <a:ext cx="5232200" cy="338554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Technical Skill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79AC037-4864-A5D1-250B-A883043EC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essons Learned</a:t>
            </a:r>
          </a:p>
        </p:txBody>
      </p:sp>
    </p:spTree>
    <p:extLst>
      <p:ext uri="{BB962C8B-B14F-4D97-AF65-F5344CB8AC3E}">
        <p14:creationId xmlns:p14="http://schemas.microsoft.com/office/powerpoint/2010/main" val="2572730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bbv Software Services AG  | </a:t>
            </a:r>
            <a:r>
              <a:rPr lang="en-CH"/>
              <a:t>Date</a:t>
            </a:r>
            <a:r>
              <a:rPr lang="en-US"/>
              <a:t>: 25/08/2025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/>
              <a:t>Ypp 4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2D3765-E81E-5BAB-DCA2-088948E8D1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70" name="Picture 6" descr="A group of people with different skills&#10;&#10;AI-generated content may be incorrect.">
            <a:extLst>
              <a:ext uri="{FF2B5EF4-FFF2-40B4-BE49-F238E27FC236}">
                <a16:creationId xmlns:a16="http://schemas.microsoft.com/office/drawing/2014/main" id="{D8241B62-BDF9-5EF2-28E7-FCCE5B808A25}"/>
              </a:ext>
            </a:extLst>
          </p:cNvPr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60" b="2760"/>
          <a:stretch/>
        </p:blipFill>
        <p:spPr bwMode="auto">
          <a:xfrm>
            <a:off x="6096000" y="1098250"/>
            <a:ext cx="6096000" cy="5759500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855656-2444-1614-C045-8658F89BCB1A}"/>
              </a:ext>
            </a:extLst>
          </p:cNvPr>
          <p:cNvSpPr>
            <a:spLocks noGrp="1" noChangeArrowheads="1"/>
          </p:cNvSpPr>
          <p:nvPr>
            <p:ph type="body" sz="quarter" idx="13"/>
          </p:nvPr>
        </p:nvSpPr>
        <p:spPr bwMode="auto">
          <a:xfrm>
            <a:off x="432000" y="2160001"/>
            <a:ext cx="5232200" cy="4267788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eaLnBrk="0" fontAlgn="base" hangingPunct="0">
              <a:spcBef>
                <a:spcPct val="0"/>
              </a:spcBef>
              <a:buClrTx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Strengthened </a:t>
            </a:r>
            <a:r>
              <a:rPr kumimoji="0" lang="en-US" altLang="en-US" b="1" i="0" u="none" strike="noStrike" cap="none" normalizeH="0" baseline="0">
                <a:ln>
                  <a:noFill/>
                </a:ln>
                <a:effectLst/>
              </a:rPr>
              <a:t>communication &amp; teamwork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 via English Club, sharing sessions, workshops</a:t>
            </a:r>
          </a:p>
          <a:p>
            <a:pPr eaLnBrk="0" fontAlgn="base" hangingPunct="0">
              <a:spcBef>
                <a:spcPct val="0"/>
              </a:spcBef>
              <a:buClrTx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Gained confidence in </a:t>
            </a:r>
            <a:r>
              <a:rPr kumimoji="0" lang="en-US" altLang="en-US" b="1" i="0" u="none" strike="noStrike" cap="none" normalizeH="0" baseline="0">
                <a:ln>
                  <a:noFill/>
                </a:ln>
                <a:effectLst/>
              </a:rPr>
              <a:t>presenting ideas, collaborating, and learning from others</a:t>
            </a:r>
            <a:endParaRPr kumimoji="0" lang="en-US" altLang="en-US" b="0" i="0" u="none" strike="noStrike" cap="none" normalizeH="0" baseline="0">
              <a:ln>
                <a:noFill/>
              </a:ln>
              <a:effectLst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537A203-C051-5E2E-FDF3-15B00395DF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000" y="1530000"/>
            <a:ext cx="5232200" cy="338554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oft Skill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4B6AE52-E950-F5A1-F99C-184128A76D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Lessons Learned</a:t>
            </a:r>
          </a:p>
        </p:txBody>
      </p:sp>
    </p:spTree>
    <p:extLst>
      <p:ext uri="{BB962C8B-B14F-4D97-AF65-F5344CB8AC3E}">
        <p14:creationId xmlns:p14="http://schemas.microsoft.com/office/powerpoint/2010/main" val="377957046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3E9FF0-13CF-1593-E6A4-DC0D5E2A51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CFD7CDA-76F2-DE99-F902-CEF7DBE556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E981F0B-D6E5-673F-8CAF-AE17035CB3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52500511-99B9-3BE7-8FB6-757854891BC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99B730-D4C5-8622-C840-D16357FD2D0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Becoming a Better Me</a:t>
            </a:r>
          </a:p>
        </p:txBody>
      </p:sp>
    </p:spTree>
    <p:extLst>
      <p:ext uri="{BB962C8B-B14F-4D97-AF65-F5344CB8AC3E}">
        <p14:creationId xmlns:p14="http://schemas.microsoft.com/office/powerpoint/2010/main" val="12404124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1" name="Picture 3" descr="A group of people standing on a stack of books&#10;&#10;AI-generated content may be incorrect.">
            <a:extLst>
              <a:ext uri="{FF2B5EF4-FFF2-40B4-BE49-F238E27FC236}">
                <a16:creationId xmlns:a16="http://schemas.microsoft.com/office/drawing/2014/main" id="{7A3E3819-81F9-DC0F-EE4C-C55953A45186}"/>
              </a:ext>
            </a:extLst>
          </p:cNvPr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60" b="2760"/>
          <a:stretch/>
        </p:blipFill>
        <p:spPr bwMode="auto">
          <a:xfrm>
            <a:off x="6096000" y="1098250"/>
            <a:ext cx="6096000" cy="5759500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8" name="Rectangle 1">
            <a:extLst>
              <a:ext uri="{FF2B5EF4-FFF2-40B4-BE49-F238E27FC236}">
                <a16:creationId xmlns:a16="http://schemas.microsoft.com/office/drawing/2014/main" id="{45F28D4C-AAB7-DB4E-5BA2-BA5D4824BBC0}"/>
              </a:ext>
            </a:extLst>
          </p:cNvPr>
          <p:cNvSpPr>
            <a:spLocks noGrp="1" noChangeArrowheads="1"/>
          </p:cNvSpPr>
          <p:nvPr>
            <p:ph type="body" sz="quarter" idx="16"/>
          </p:nvPr>
        </p:nvSpPr>
        <p:spPr bwMode="auto">
          <a:xfrm>
            <a:off x="432000" y="1530000"/>
            <a:ext cx="6096000" cy="4896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285750" marR="0" lvl="0" indent="-28575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kumimoji="0" lang="en-US" altLang="en-US" i="0" u="none" strike="noStrike" cap="none" normalizeH="0" baseline="0">
                <a:ln>
                  <a:noFill/>
                </a:ln>
                <a:effectLst/>
              </a:rPr>
              <a:t>Grew technically: 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better coding, database design, problem-solving</a:t>
            </a:r>
          </a:p>
          <a:p>
            <a:pPr marL="285750" marR="0" lvl="0" indent="-28575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kumimoji="0" lang="en-US" altLang="en-US" i="0" u="none" strike="noStrike" cap="none" normalizeH="0" baseline="0">
                <a:ln>
                  <a:noFill/>
                </a:ln>
                <a:effectLst/>
              </a:rPr>
              <a:t>Improved soft skills: 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communication, teamwork, presenting ideas</a:t>
            </a:r>
          </a:p>
          <a:p>
            <a:pPr marL="285750" marR="0" lvl="0" indent="-28575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Built confidence to tackle challenges and learn independently</a:t>
            </a:r>
          </a:p>
          <a:p>
            <a:pPr marL="285750" marR="0" lvl="0" indent="-28575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Keep learning and exploring new skills</a:t>
            </a:r>
          </a:p>
          <a:p>
            <a:pPr marL="285750" marR="0" lvl="0" indent="-28575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effectLst/>
              </a:rPr>
              <a:t>Strive to become a better, more capable version of myself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8F27B64-DDED-F33F-5AAF-33F6DE955E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Becoming a Better Me</a:t>
            </a:r>
          </a:p>
        </p:txBody>
      </p:sp>
    </p:spTree>
    <p:extLst>
      <p:ext uri="{BB962C8B-B14F-4D97-AF65-F5344CB8AC3E}">
        <p14:creationId xmlns:p14="http://schemas.microsoft.com/office/powerpoint/2010/main" val="298953102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6" name="Picture 4" descr="A group of people standing together&#10;&#10;AI-generated content may be incorrect.">
            <a:extLst>
              <a:ext uri="{FF2B5EF4-FFF2-40B4-BE49-F238E27FC236}">
                <a16:creationId xmlns:a16="http://schemas.microsoft.com/office/drawing/2014/main" id="{6439E80B-C582-C587-168A-5E428966EE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010"/>
          <a:stretch>
            <a:fillRect/>
          </a:stretch>
        </p:blipFill>
        <p:spPr bwMode="auto">
          <a:xfrm>
            <a:off x="20" y="1098000"/>
            <a:ext cx="12191980" cy="5760000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612B61C3-8DDD-283D-0FF4-FBBD4D4E75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wrap="square" anchor="ctr">
            <a:normAutofit/>
          </a:bodyPr>
          <a:lstStyle/>
          <a:p>
            <a:r>
              <a:rPr lang="en-US"/>
              <a:t>Q &amp; A </a:t>
            </a:r>
          </a:p>
        </p:txBody>
      </p:sp>
    </p:spTree>
    <p:extLst>
      <p:ext uri="{BB962C8B-B14F-4D97-AF65-F5344CB8AC3E}">
        <p14:creationId xmlns:p14="http://schemas.microsoft.com/office/powerpoint/2010/main" val="26297771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188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B458723-F8F0-9DEE-EB70-04F588D700D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/>
          <a:srcRect t="26389" b="26389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Presented by: Luong Tuyet Mi – Intern, BBV Vietnam </a:t>
            </a:r>
            <a:r>
              <a:rPr lang="en-GB"/>
              <a:t>|  </a:t>
            </a:r>
            <a:r>
              <a:rPr lang="en-CH"/>
              <a:t>Date</a:t>
            </a:r>
            <a:r>
              <a:rPr lang="en-US"/>
              <a:t>: 25/08/2025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From Learning to Practice: My Growth Story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561E403-33F7-B94A-DE82-295AC6F21A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E50F8-6089-8B05-8B3F-8F26994E4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555665"/>
            <a:ext cx="5232000" cy="4896000"/>
          </a:xfrm>
        </p:spPr>
        <p:txBody>
          <a:bodyPr/>
          <a:lstStyle/>
          <a:p>
            <a:r>
              <a:rPr lang="en-US"/>
              <a:t>Introduction</a:t>
            </a:r>
          </a:p>
          <a:p>
            <a:r>
              <a:rPr lang="en-US"/>
              <a:t>Learning Journey</a:t>
            </a:r>
          </a:p>
          <a:p>
            <a:r>
              <a:rPr lang="en-US"/>
              <a:t>Challenges Faced</a:t>
            </a:r>
          </a:p>
          <a:p>
            <a:r>
              <a:rPr lang="en-US"/>
              <a:t>Lessons Learned</a:t>
            </a:r>
          </a:p>
          <a:p>
            <a:r>
              <a:rPr lang="en-US"/>
              <a:t>Becoming a Better Me</a:t>
            </a:r>
          </a:p>
          <a:p>
            <a:r>
              <a:rPr lang="en-US"/>
              <a:t>Q &amp; 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598104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7428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59" b="42247"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Purpose &amp; timeline of my learning journey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Introduc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9E9E7B5-BDF1-4F3B-5DC4-0AD36B6113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2000" y="1646654"/>
            <a:ext cx="5232200" cy="4267788"/>
          </a:xfrm>
        </p:spPr>
        <p:txBody>
          <a:bodyPr/>
          <a:lstStyle/>
          <a:p>
            <a:pPr marL="334644" lvl="1" indent="0">
              <a:lnSpc>
                <a:spcPct val="150000"/>
              </a:lnSpc>
              <a:buNone/>
            </a:pPr>
            <a:r>
              <a:rPr lang="en-US" b="1">
                <a:solidFill>
                  <a:srgbClr val="333333"/>
                </a:solidFill>
                <a:ea typeface="Arial"/>
                <a:cs typeface="Arial"/>
                <a:sym typeface="Arial"/>
              </a:rPr>
              <a:t>Technical learning:</a:t>
            </a:r>
          </a:p>
          <a:p>
            <a:pPr marL="669289" lvl="1" indent="-334645">
              <a:lnSpc>
                <a:spcPct val="150000"/>
              </a:lnSpc>
              <a:buFont typeface="Arial"/>
              <a:buChar char="•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Requirement analysis, Scrum, BPMN,…</a:t>
            </a:r>
          </a:p>
          <a:p>
            <a:pPr marL="669289" lvl="1" indent="-334645">
              <a:lnSpc>
                <a:spcPct val="150000"/>
              </a:lnSpc>
              <a:buFont typeface="Arial"/>
              <a:buChar char="•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Database design &amp; SQLUnit testing &amp; optimization</a:t>
            </a:r>
          </a:p>
          <a:p>
            <a:pPr marL="334644" lvl="1" indent="0">
              <a:lnSpc>
                <a:spcPct val="150000"/>
              </a:lnSpc>
              <a:buNone/>
            </a:pPr>
            <a:r>
              <a:rPr lang="en-US" b="1">
                <a:solidFill>
                  <a:srgbClr val="333333"/>
                </a:solidFill>
                <a:ea typeface="Arial"/>
                <a:cs typeface="Arial"/>
                <a:sym typeface="Arial"/>
              </a:rPr>
              <a:t>Personal development:</a:t>
            </a:r>
          </a:p>
          <a:p>
            <a:pPr marL="669289" lvl="1" indent="-334645">
              <a:lnSpc>
                <a:spcPct val="150000"/>
              </a:lnSpc>
              <a:buFont typeface="Arial"/>
              <a:buChar char="•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English Club</a:t>
            </a:r>
          </a:p>
          <a:p>
            <a:pPr marL="669289" lvl="1" indent="-334645">
              <a:lnSpc>
                <a:spcPct val="150000"/>
              </a:lnSpc>
              <a:buFont typeface="Arial"/>
              <a:buChar char="•"/>
            </a:pPr>
            <a:r>
              <a:rPr lang="en-US">
                <a:solidFill>
                  <a:srgbClr val="333333"/>
                </a:solidFill>
                <a:ea typeface="Arial"/>
                <a:cs typeface="Arial"/>
                <a:sym typeface="Arial"/>
              </a:rPr>
              <a:t>Workshop, Sharing Session: Critical Thinking,Problem Solving,…</a:t>
            </a:r>
          </a:p>
          <a:p>
            <a:pPr marL="669289" lvl="1" indent="-334645">
              <a:lnSpc>
                <a:spcPct val="150000"/>
              </a:lnSpc>
              <a:buFont typeface="Arial"/>
              <a:buChar char="•"/>
            </a:pPr>
            <a:r>
              <a:rPr lang="en-US"/>
              <a:t>Outdoor activities &amp; social gatherings</a:t>
            </a:r>
            <a:endParaRPr lang="en-US">
              <a:solidFill>
                <a:srgbClr val="333333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21DB2E-AD64-0680-8783-D12FD58E8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999" y="1098000"/>
            <a:ext cx="6530274" cy="338554"/>
          </a:xfrm>
        </p:spPr>
        <p:txBody>
          <a:bodyPr/>
          <a:lstStyle/>
          <a:p>
            <a:pPr marL="334644" lvl="1"/>
            <a:r>
              <a:rPr lang="en-US"/>
              <a:t>Joined the </a:t>
            </a:r>
            <a:r>
              <a:rPr lang="en-US" b="1"/>
              <a:t>Young Professional Program at BBV VietNam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096EED-E4A7-AF91-27B1-EB89B3B3A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roduction</a:t>
            </a:r>
          </a:p>
        </p:txBody>
      </p:sp>
      <p:pic>
        <p:nvPicPr>
          <p:cNvPr id="1031" name="Picture 7">
            <a:extLst>
              <a:ext uri="{FF2B5EF4-FFF2-40B4-BE49-F238E27FC236}">
                <a16:creationId xmlns:a16="http://schemas.microsoft.com/office/drawing/2014/main" id="{E9173385-849A-52E5-D5C3-DCF8C0ED69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2097" y="1436554"/>
            <a:ext cx="5937903" cy="5226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9166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18B968-C584-8DAD-AD19-51B0EF3222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02973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7CEAA93-EF5B-6E0E-C86D-8320414DF7B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C2C5989-BC54-3BBD-8A51-0597FC880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Learning Journey</a:t>
            </a:r>
          </a:p>
        </p:txBody>
      </p:sp>
    </p:spTree>
    <p:extLst>
      <p:ext uri="{BB962C8B-B14F-4D97-AF65-F5344CB8AC3E}">
        <p14:creationId xmlns:p14="http://schemas.microsoft.com/office/powerpoint/2010/main" val="16450682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F509744-AD5A-19B5-06D6-01714B219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arning Journey</a:t>
            </a:r>
          </a:p>
        </p:txBody>
      </p:sp>
      <p:grpSp>
        <p:nvGrpSpPr>
          <p:cNvPr id="68" name="Google Shape;987;p34">
            <a:extLst>
              <a:ext uri="{FF2B5EF4-FFF2-40B4-BE49-F238E27FC236}">
                <a16:creationId xmlns:a16="http://schemas.microsoft.com/office/drawing/2014/main" id="{C393E421-C525-AD31-13B4-E686D8FDE7E5}"/>
              </a:ext>
            </a:extLst>
          </p:cNvPr>
          <p:cNvGrpSpPr/>
          <p:nvPr/>
        </p:nvGrpSpPr>
        <p:grpSpPr>
          <a:xfrm>
            <a:off x="312897" y="1883511"/>
            <a:ext cx="11294211" cy="894136"/>
            <a:chOff x="453297" y="2276229"/>
            <a:chExt cx="6614093" cy="415314"/>
          </a:xfrm>
        </p:grpSpPr>
        <p:sp>
          <p:nvSpPr>
            <p:cNvPr id="69" name="Google Shape;988;p34">
              <a:extLst>
                <a:ext uri="{FF2B5EF4-FFF2-40B4-BE49-F238E27FC236}">
                  <a16:creationId xmlns:a16="http://schemas.microsoft.com/office/drawing/2014/main" id="{4F558913-4FFF-24D3-8B4B-201D60407669}"/>
                </a:ext>
              </a:extLst>
            </p:cNvPr>
            <p:cNvSpPr/>
            <p:nvPr/>
          </p:nvSpPr>
          <p:spPr>
            <a:xfrm>
              <a:off x="453297" y="2276327"/>
              <a:ext cx="1744158" cy="415216"/>
            </a:xfrm>
            <a:custGeom>
              <a:avLst/>
              <a:gdLst/>
              <a:ahLst/>
              <a:cxnLst/>
              <a:rect l="l" t="t" r="r" b="b"/>
              <a:pathLst>
                <a:path w="77141" h="17788" extrusionOk="0">
                  <a:moveTo>
                    <a:pt x="0" y="0"/>
                  </a:moveTo>
                  <a:lnTo>
                    <a:pt x="9585" y="8894"/>
                  </a:lnTo>
                  <a:lnTo>
                    <a:pt x="0" y="17788"/>
                  </a:lnTo>
                  <a:lnTo>
                    <a:pt x="67556" y="17788"/>
                  </a:lnTo>
                  <a:lnTo>
                    <a:pt x="77141" y="8894"/>
                  </a:lnTo>
                  <a:lnTo>
                    <a:pt x="67556" y="0"/>
                  </a:lnTo>
                  <a:close/>
                </a:path>
              </a:pathLst>
            </a:custGeom>
            <a:solidFill>
              <a:srgbClr val="0051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vl="0"/>
              <a:r>
                <a:rPr lang="en-US" b="1">
                  <a:solidFill>
                    <a:schemeClr val="bg1"/>
                  </a:solidFill>
                </a:rPr>
                <a:t>         Getting Started</a:t>
              </a:r>
              <a:endParaRPr b="1">
                <a:solidFill>
                  <a:schemeClr val="bg1"/>
                </a:solidFill>
              </a:endParaRPr>
            </a:p>
          </p:txBody>
        </p:sp>
        <p:sp>
          <p:nvSpPr>
            <p:cNvPr id="70" name="Google Shape;989;p34">
              <a:extLst>
                <a:ext uri="{FF2B5EF4-FFF2-40B4-BE49-F238E27FC236}">
                  <a16:creationId xmlns:a16="http://schemas.microsoft.com/office/drawing/2014/main" id="{0EA09B10-2199-6896-4E38-D806A9F24B3F}"/>
                </a:ext>
              </a:extLst>
            </p:cNvPr>
            <p:cNvSpPr/>
            <p:nvPr/>
          </p:nvSpPr>
          <p:spPr>
            <a:xfrm>
              <a:off x="2076330" y="2276327"/>
              <a:ext cx="1744452" cy="415216"/>
            </a:xfrm>
            <a:custGeom>
              <a:avLst/>
              <a:gdLst/>
              <a:ahLst/>
              <a:cxnLst/>
              <a:rect l="l" t="t" r="r" b="b"/>
              <a:pathLst>
                <a:path w="77154" h="17788" extrusionOk="0">
                  <a:moveTo>
                    <a:pt x="1" y="0"/>
                  </a:moveTo>
                  <a:lnTo>
                    <a:pt x="9597" y="8894"/>
                  </a:lnTo>
                  <a:lnTo>
                    <a:pt x="1" y="17788"/>
                  </a:lnTo>
                  <a:lnTo>
                    <a:pt x="67557" y="17788"/>
                  </a:lnTo>
                  <a:lnTo>
                    <a:pt x="77153" y="8894"/>
                  </a:lnTo>
                  <a:lnTo>
                    <a:pt x="67557" y="0"/>
                  </a:lnTo>
                  <a:close/>
                </a:path>
              </a:pathLst>
            </a:custGeom>
            <a:solidFill>
              <a:srgbClr val="3374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vl="0"/>
              <a:r>
                <a:rPr lang="en-US" b="1">
                  <a:solidFill>
                    <a:schemeClr val="bg1"/>
                  </a:solidFill>
                </a:rPr>
                <a:t>      Building Foundations</a:t>
              </a:r>
              <a:endParaRPr b="1">
                <a:solidFill>
                  <a:schemeClr val="bg1"/>
                </a:solidFill>
              </a:endParaRPr>
            </a:p>
          </p:txBody>
        </p:sp>
        <p:sp>
          <p:nvSpPr>
            <p:cNvPr id="71" name="Google Shape;990;p34">
              <a:extLst>
                <a:ext uri="{FF2B5EF4-FFF2-40B4-BE49-F238E27FC236}">
                  <a16:creationId xmlns:a16="http://schemas.microsoft.com/office/drawing/2014/main" id="{B40969FC-0DD1-F685-D2DC-895052B13620}"/>
                </a:ext>
              </a:extLst>
            </p:cNvPr>
            <p:cNvSpPr/>
            <p:nvPr/>
          </p:nvSpPr>
          <p:spPr>
            <a:xfrm>
              <a:off x="3699657" y="2276327"/>
              <a:ext cx="1744429" cy="415216"/>
            </a:xfrm>
            <a:custGeom>
              <a:avLst/>
              <a:gdLst/>
              <a:ahLst/>
              <a:cxnLst/>
              <a:rect l="l" t="t" r="r" b="b"/>
              <a:pathLst>
                <a:path w="77153" h="17788" extrusionOk="0">
                  <a:moveTo>
                    <a:pt x="0" y="0"/>
                  </a:moveTo>
                  <a:lnTo>
                    <a:pt x="9585" y="8894"/>
                  </a:lnTo>
                  <a:lnTo>
                    <a:pt x="0" y="17788"/>
                  </a:lnTo>
                  <a:lnTo>
                    <a:pt x="67556" y="17788"/>
                  </a:lnTo>
                  <a:lnTo>
                    <a:pt x="77153" y="8894"/>
                  </a:lnTo>
                  <a:lnTo>
                    <a:pt x="67556" y="0"/>
                  </a:lnTo>
                  <a:close/>
                </a:path>
              </a:pathLst>
            </a:custGeom>
            <a:solidFill>
              <a:srgbClr val="6697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vl="0"/>
              <a:r>
                <a:rPr lang="en-US" b="1">
                  <a:solidFill>
                    <a:schemeClr val="bg1"/>
                  </a:solidFill>
                </a:rPr>
                <a:t>       Expanding Skills</a:t>
              </a:r>
              <a:endParaRPr b="1">
                <a:solidFill>
                  <a:schemeClr val="bg1"/>
                </a:solidFill>
              </a:endParaRPr>
            </a:p>
          </p:txBody>
        </p:sp>
        <p:sp>
          <p:nvSpPr>
            <p:cNvPr id="72" name="Google Shape;991;p34">
              <a:extLst>
                <a:ext uri="{FF2B5EF4-FFF2-40B4-BE49-F238E27FC236}">
                  <a16:creationId xmlns:a16="http://schemas.microsoft.com/office/drawing/2014/main" id="{60156756-B128-346E-58CC-23E6C1EACB2A}"/>
                </a:ext>
              </a:extLst>
            </p:cNvPr>
            <p:cNvSpPr/>
            <p:nvPr/>
          </p:nvSpPr>
          <p:spPr>
            <a:xfrm>
              <a:off x="5322961" y="2276229"/>
              <a:ext cx="1744429" cy="415216"/>
            </a:xfrm>
            <a:custGeom>
              <a:avLst/>
              <a:gdLst/>
              <a:ahLst/>
              <a:cxnLst/>
              <a:rect l="l" t="t" r="r" b="b"/>
              <a:pathLst>
                <a:path w="77153" h="17788" extrusionOk="0">
                  <a:moveTo>
                    <a:pt x="0" y="0"/>
                  </a:moveTo>
                  <a:lnTo>
                    <a:pt x="9585" y="8894"/>
                  </a:lnTo>
                  <a:lnTo>
                    <a:pt x="0" y="17788"/>
                  </a:lnTo>
                  <a:lnTo>
                    <a:pt x="67556" y="17788"/>
                  </a:lnTo>
                  <a:lnTo>
                    <a:pt x="77153" y="8894"/>
                  </a:lnTo>
                  <a:lnTo>
                    <a:pt x="67556" y="0"/>
                  </a:lnTo>
                  <a:close/>
                </a:path>
              </a:pathLst>
            </a:custGeom>
            <a:solidFill>
              <a:srgbClr val="99B9D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vl="0"/>
              <a:r>
                <a:rPr lang="en-US" b="1">
                  <a:solidFill>
                    <a:srgbClr val="005194"/>
                  </a:solidFill>
                </a:rPr>
                <a:t>     Connecting &amp; Growing</a:t>
              </a:r>
              <a:endParaRPr b="1">
                <a:solidFill>
                  <a:srgbClr val="005194"/>
                </a:solidFill>
              </a:endParaRPr>
            </a:p>
          </p:txBody>
        </p:sp>
      </p:grp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0EC6D373-A14F-5440-D663-4721793CDDA8}"/>
              </a:ext>
            </a:extLst>
          </p:cNvPr>
          <p:cNvCxnSpPr/>
          <p:nvPr/>
        </p:nvCxnSpPr>
        <p:spPr>
          <a:xfrm>
            <a:off x="1802057" y="2777647"/>
            <a:ext cx="0" cy="1248921"/>
          </a:xfrm>
          <a:prstGeom prst="straightConnector1">
            <a:avLst/>
          </a:prstGeom>
          <a:ln w="57150">
            <a:solidFill>
              <a:srgbClr val="005194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Box 99">
            <a:extLst>
              <a:ext uri="{FF2B5EF4-FFF2-40B4-BE49-F238E27FC236}">
                <a16:creationId xmlns:a16="http://schemas.microsoft.com/office/drawing/2014/main" id="{C60E7744-FE32-6C72-DF38-10068A8F07C4}"/>
              </a:ext>
            </a:extLst>
          </p:cNvPr>
          <p:cNvSpPr txBox="1"/>
          <p:nvPr/>
        </p:nvSpPr>
        <p:spPr>
          <a:xfrm>
            <a:off x="627244" y="4080504"/>
            <a:ext cx="23504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/>
              <a:t>Onboarding to YPP</a:t>
            </a:r>
          </a:p>
        </p:txBody>
      </p: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B8BE8987-E3C1-D9C9-8B53-E8579B1C2F2A}"/>
              </a:ext>
            </a:extLst>
          </p:cNvPr>
          <p:cNvCxnSpPr/>
          <p:nvPr/>
        </p:nvCxnSpPr>
        <p:spPr>
          <a:xfrm>
            <a:off x="4572912" y="2777436"/>
            <a:ext cx="0" cy="1248921"/>
          </a:xfrm>
          <a:prstGeom prst="straightConnector1">
            <a:avLst/>
          </a:prstGeom>
          <a:ln w="57150">
            <a:solidFill>
              <a:srgbClr val="3374A9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2" name="Rectangle 2">
            <a:extLst>
              <a:ext uri="{FF2B5EF4-FFF2-40B4-BE49-F238E27FC236}">
                <a16:creationId xmlns:a16="http://schemas.microsoft.com/office/drawing/2014/main" id="{52897784-9C9B-EB08-2C1F-FD08E2D411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4385" y="4049768"/>
            <a:ext cx="2978823" cy="1287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Basics of database design</a:t>
            </a:r>
          </a:p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acticing SQL queries</a:t>
            </a:r>
          </a:p>
        </p:txBody>
      </p: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0568F99E-0A09-12C1-F671-6CFCC357F5FC}"/>
              </a:ext>
            </a:extLst>
          </p:cNvPr>
          <p:cNvCxnSpPr/>
          <p:nvPr/>
        </p:nvCxnSpPr>
        <p:spPr>
          <a:xfrm>
            <a:off x="7342882" y="2761756"/>
            <a:ext cx="0" cy="1248921"/>
          </a:xfrm>
          <a:prstGeom prst="straightConnector1">
            <a:avLst/>
          </a:prstGeom>
          <a:ln w="57150">
            <a:solidFill>
              <a:srgbClr val="6697BF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9" name="TextBox 108">
            <a:extLst>
              <a:ext uri="{FF2B5EF4-FFF2-40B4-BE49-F238E27FC236}">
                <a16:creationId xmlns:a16="http://schemas.microsoft.com/office/drawing/2014/main" id="{93F5A39C-254B-07AB-71A4-7F52154FC256}"/>
              </a:ext>
            </a:extLst>
          </p:cNvPr>
          <p:cNvSpPr txBox="1"/>
          <p:nvPr/>
        </p:nvSpPr>
        <p:spPr>
          <a:xfrm>
            <a:off x="6128794" y="4046189"/>
            <a:ext cx="2664847" cy="17030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/>
              <a:t>Unit testing &amp; optimiz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/>
              <a:t>English Club &amp; soft-skill workshops</a:t>
            </a:r>
          </a:p>
        </p:txBody>
      </p: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68591864-D367-FBAD-AE72-4D4E50ADD76D}"/>
              </a:ext>
            </a:extLst>
          </p:cNvPr>
          <p:cNvCxnSpPr/>
          <p:nvPr/>
        </p:nvCxnSpPr>
        <p:spPr>
          <a:xfrm>
            <a:off x="10171660" y="2761755"/>
            <a:ext cx="0" cy="1248921"/>
          </a:xfrm>
          <a:prstGeom prst="straightConnector1">
            <a:avLst/>
          </a:prstGeom>
          <a:ln w="57150">
            <a:solidFill>
              <a:srgbClr val="99B9D4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2" name="TextBox 111">
            <a:extLst>
              <a:ext uri="{FF2B5EF4-FFF2-40B4-BE49-F238E27FC236}">
                <a16:creationId xmlns:a16="http://schemas.microsoft.com/office/drawing/2014/main" id="{1809EE14-CF20-BE7E-C23F-91DD530A2918}"/>
              </a:ext>
            </a:extLst>
          </p:cNvPr>
          <p:cNvSpPr txBox="1"/>
          <p:nvPr/>
        </p:nvSpPr>
        <p:spPr>
          <a:xfrm>
            <a:off x="8900325" y="4080354"/>
            <a:ext cx="2664847" cy="1287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/>
              <a:t>Sharing sessions with peers &amp; mentor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/>
              <a:t>Outdoor activities</a:t>
            </a:r>
          </a:p>
        </p:txBody>
      </p:sp>
    </p:spTree>
    <p:extLst>
      <p:ext uri="{BB962C8B-B14F-4D97-AF65-F5344CB8AC3E}">
        <p14:creationId xmlns:p14="http://schemas.microsoft.com/office/powerpoint/2010/main" val="2730273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A11E383-F922-D387-6E96-3CF9D0DB5D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arning Journey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FBA4B828-3B38-E414-664E-43DC7FF9334B}"/>
              </a:ext>
            </a:extLst>
          </p:cNvPr>
          <p:cNvSpPr>
            <a:spLocks noGrp="1" noChangeArrowheads="1"/>
          </p:cNvSpPr>
          <p:nvPr>
            <p:ph type="body" sz="quarter" idx="13"/>
          </p:nvPr>
        </p:nvSpPr>
        <p:spPr bwMode="auto">
          <a:xfrm>
            <a:off x="431999" y="1659411"/>
            <a:ext cx="5102527" cy="3365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Onboarding to YPP &amp; meeting the team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>
                <a:latin typeface="Arial" panose="020B0604020202020204" pitchFamily="34" charset="0"/>
              </a:rPr>
              <a:t>Learning about the </a:t>
            </a:r>
            <a:r>
              <a:rPr lang="en-US" altLang="en-US" b="1">
                <a:latin typeface="Arial" panose="020B0604020202020204" pitchFamily="34" charset="0"/>
              </a:rPr>
              <a:t>Software Development Quality Map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>
                <a:latin typeface="Arial" panose="020B0604020202020204" pitchFamily="34" charset="0"/>
              </a:rPr>
              <a:t>Understanding program structure &amp; expectations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>
                <a:latin typeface="Arial" panose="020B0604020202020204" pitchFamily="34" charset="0"/>
              </a:rPr>
              <a:t>Adapting to a new working environmen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First exposure to </a:t>
            </a:r>
            <a:r>
              <a: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op – Down Approach, Scrum, BPMN &amp; S.M.A.R.T questioning,…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5C6C40E-C609-A258-5457-4FF9CC276D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5793" y="1441203"/>
            <a:ext cx="6333344" cy="380144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57473DB-C3AA-B82A-F2FA-EDC5B8D5B444}"/>
              </a:ext>
            </a:extLst>
          </p:cNvPr>
          <p:cNvSpPr txBox="1"/>
          <p:nvPr/>
        </p:nvSpPr>
        <p:spPr>
          <a:xfrm>
            <a:off x="431999" y="1098000"/>
            <a:ext cx="60960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b="1"/>
              <a:t>Building Foundations</a:t>
            </a:r>
          </a:p>
        </p:txBody>
      </p:sp>
    </p:spTree>
    <p:extLst>
      <p:ext uri="{BB962C8B-B14F-4D97-AF65-F5344CB8AC3E}">
        <p14:creationId xmlns:p14="http://schemas.microsoft.com/office/powerpoint/2010/main" val="33543853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2695</TotalTime>
  <Words>910</Words>
  <Application>Microsoft Office PowerPoint</Application>
  <PresentationFormat>Widescreen</PresentationFormat>
  <Paragraphs>137</Paragraphs>
  <Slides>2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8" baseType="lpstr">
      <vt:lpstr>Arial</vt:lpstr>
      <vt:lpstr>Calibri</vt:lpstr>
      <vt:lpstr>Wingdings</vt:lpstr>
      <vt:lpstr>bbv template EN</vt:lpstr>
      <vt:lpstr>think-cell Slide</vt:lpstr>
      <vt:lpstr>PowerPoint Presentation</vt:lpstr>
      <vt:lpstr>Ypp 4</vt:lpstr>
      <vt:lpstr>From Learning to Practice: My Growth Story</vt:lpstr>
      <vt:lpstr>Agenda</vt:lpstr>
      <vt:lpstr>Introduction</vt:lpstr>
      <vt:lpstr>Introduction</vt:lpstr>
      <vt:lpstr>Learning Journey</vt:lpstr>
      <vt:lpstr>Learning Journey</vt:lpstr>
      <vt:lpstr>Learning Journey</vt:lpstr>
      <vt:lpstr>Learning Journey</vt:lpstr>
      <vt:lpstr>Entity analysis exercises for the main functions of MS Lists</vt:lpstr>
      <vt:lpstr>Learning Journey</vt:lpstr>
      <vt:lpstr>Learning Journey</vt:lpstr>
      <vt:lpstr>Learning Journey</vt:lpstr>
      <vt:lpstr>Learning Journey</vt:lpstr>
      <vt:lpstr>Challenges Faced</vt:lpstr>
      <vt:lpstr>Challenges Faced</vt:lpstr>
      <vt:lpstr>Lessons Learned</vt:lpstr>
      <vt:lpstr>Lessons Learned</vt:lpstr>
      <vt:lpstr>Lessons Learned</vt:lpstr>
      <vt:lpstr>Becoming a Better Me</vt:lpstr>
      <vt:lpstr>Becoming a Better Me</vt:lpstr>
      <vt:lpstr>Q &amp; A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Tuyết Mi</cp:lastModifiedBy>
  <cp:revision>37</cp:revision>
  <dcterms:created xsi:type="dcterms:W3CDTF">2025-07-10T03:51:23Z</dcterms:created>
  <dcterms:modified xsi:type="dcterms:W3CDTF">2025-08-25T03:35:17Z</dcterms:modified>
</cp:coreProperties>
</file>